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05" r:id="rId2"/>
  </p:sldMasterIdLst>
  <p:notesMasterIdLst>
    <p:notesMasterId r:id="rId6"/>
  </p:notesMasterIdLst>
  <p:sldIdLst>
    <p:sldId id="271" r:id="rId3"/>
    <p:sldId id="257" r:id="rId4"/>
    <p:sldId id="283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10/5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9:00:0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2513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75614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12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7081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6481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0151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805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8477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7011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1572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158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676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3973363"/>
            <a:ext cx="9256235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14: </a:t>
            </a: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Dozer working at the Dump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lang="en-US" altLang="en-US" sz="2000" dirty="0" err="1">
                <a:solidFill>
                  <a:srgbClr val="3F3F3F"/>
                </a:solidFill>
                <a:latin typeface="Calibri" panose="020F0502020204030204" pitchFamily="34" charset="0"/>
              </a:rPr>
              <a:t>Ve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rsion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500516"/>
            <a:ext cx="9619861" cy="51484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i="1" kern="0" dirty="0">
                <a:solidFill>
                  <a:srgbClr val="001100"/>
                </a:solidFill>
                <a:latin typeface="Calibri" pitchFamily="34" charset="0"/>
                <a:cs typeface="Calibri" pitchFamily="34" charset="0"/>
              </a:rPr>
              <a:t>Remember LO = Local Object and RO = Remote Object (reference EMERST PR5A)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5FB01C7-3A78-E048-9D79-F78E044E5D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742364" y="5126194"/>
            <a:ext cx="1204865" cy="152977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7B2CA23-7C60-4148-BF78-803BBD28B4CF}"/>
              </a:ext>
            </a:extLst>
          </p:cNvPr>
          <p:cNvSpPr txBox="1"/>
          <p:nvPr/>
        </p:nvSpPr>
        <p:spPr>
          <a:xfrm>
            <a:off x="6969414" y="674533"/>
            <a:ext cx="492702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zer @ the Dum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zer configurable parameters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ll be configurable to disable warning zone alarms from interactions with vehicles of type ‘Haul Truck’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F58A350-D368-914E-8B48-055286502F83}"/>
              </a:ext>
            </a:extLst>
          </p:cNvPr>
          <p:cNvGrpSpPr/>
          <p:nvPr/>
        </p:nvGrpSpPr>
        <p:grpSpPr>
          <a:xfrm>
            <a:off x="295564" y="895934"/>
            <a:ext cx="1921155" cy="858982"/>
            <a:chOff x="295564" y="895934"/>
            <a:chExt cx="1921155" cy="85898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9E0C96A-4556-524C-B63E-CC3E5DBFE79E}"/>
                </a:ext>
              </a:extLst>
            </p:cNvPr>
            <p:cNvSpPr/>
            <p:nvPr/>
          </p:nvSpPr>
          <p:spPr>
            <a:xfrm>
              <a:off x="295564" y="895934"/>
              <a:ext cx="1921155" cy="858982"/>
            </a:xfrm>
            <a:prstGeom prst="rect">
              <a:avLst/>
            </a:prstGeom>
            <a:solidFill>
              <a:schemeClr val="accent4">
                <a:lumMod val="75000"/>
                <a:alpha val="14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1E26FE5-8D9B-0B4A-90A8-77810A3CD1D7}"/>
                </a:ext>
              </a:extLst>
            </p:cNvPr>
            <p:cNvSpPr/>
            <p:nvPr/>
          </p:nvSpPr>
          <p:spPr>
            <a:xfrm>
              <a:off x="452582" y="988297"/>
              <a:ext cx="1366982" cy="674255"/>
            </a:xfrm>
            <a:prstGeom prst="rect">
              <a:avLst/>
            </a:prstGeom>
            <a:solidFill>
              <a:srgbClr val="FF0000">
                <a:alpha val="21000"/>
              </a:srgb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F34F0FF1-CC9E-0643-BD30-323A3D195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3037" y="1071424"/>
              <a:ext cx="952391" cy="507422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1B0376E4-F8CE-2846-A549-672D96712E14}"/>
              </a:ext>
            </a:extLst>
          </p:cNvPr>
          <p:cNvSpPr txBox="1"/>
          <p:nvPr/>
        </p:nvSpPr>
        <p:spPr>
          <a:xfrm>
            <a:off x="5255490" y="5598692"/>
            <a:ext cx="8128000" cy="5847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umping - Characteristic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AFDDC78-31F2-F04E-AD36-DCC7C59D360F}"/>
              </a:ext>
            </a:extLst>
          </p:cNvPr>
          <p:cNvGrpSpPr/>
          <p:nvPr/>
        </p:nvGrpSpPr>
        <p:grpSpPr>
          <a:xfrm>
            <a:off x="2216719" y="1578846"/>
            <a:ext cx="1627387" cy="524000"/>
            <a:chOff x="536713" y="5512860"/>
            <a:chExt cx="1627387" cy="52400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91274F8-4CFC-1F4B-8566-F17F1B75A212}"/>
                </a:ext>
              </a:extLst>
            </p:cNvPr>
            <p:cNvSpPr txBox="1"/>
            <p:nvPr/>
          </p:nvSpPr>
          <p:spPr>
            <a:xfrm>
              <a:off x="536713" y="5759861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Threat” or “Alert”</a:t>
              </a:r>
            </a:p>
          </p:txBody>
        </p:sp>
        <p:pic>
          <p:nvPicPr>
            <p:cNvPr id="11" name="Graphic 10" descr="Wi-Fi">
              <a:extLst>
                <a:ext uri="{FF2B5EF4-FFF2-40B4-BE49-F238E27FC236}">
                  <a16:creationId xmlns:a16="http://schemas.microsoft.com/office/drawing/2014/main" id="{A26AFEA4-485C-EE4D-B3C4-60AA23045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78C8BEB-6E78-C843-80C5-CFBB88A9A236}"/>
              </a:ext>
            </a:extLst>
          </p:cNvPr>
          <p:cNvGrpSpPr/>
          <p:nvPr/>
        </p:nvGrpSpPr>
        <p:grpSpPr>
          <a:xfrm>
            <a:off x="2759008" y="1410871"/>
            <a:ext cx="1627387" cy="524000"/>
            <a:chOff x="536713" y="5512860"/>
            <a:chExt cx="1627387" cy="52400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B7B2083-C289-3044-A8BE-9D89C8DA0D1A}"/>
                </a:ext>
              </a:extLst>
            </p:cNvPr>
            <p:cNvSpPr txBox="1"/>
            <p:nvPr/>
          </p:nvSpPr>
          <p:spPr>
            <a:xfrm>
              <a:off x="536713" y="5759861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         “Stop”</a:t>
              </a:r>
            </a:p>
          </p:txBody>
        </p:sp>
        <p:pic>
          <p:nvPicPr>
            <p:cNvPr id="14" name="Graphic 13" descr="Wi-Fi">
              <a:extLst>
                <a:ext uri="{FF2B5EF4-FFF2-40B4-BE49-F238E27FC236}">
                  <a16:creationId xmlns:a16="http://schemas.microsoft.com/office/drawing/2014/main" id="{9A9004B1-12C8-EB47-809C-5EEC66C6D3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1447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2.22222E-6 L 0.06705 -0.28634 C 0.08099 -0.35047 0.10195 -0.38496 0.12395 -0.38496 C 0.14895 -0.38496 0.16901 -0.35047 0.18294 -0.28634 L 0.25 2.22222E-6 " pathEditMode="relative" rAng="0" ptsTypes="AAAAA">
                                      <p:cBhvr>
                                        <p:cTn id="6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-1925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0800000">
                                      <p:cBhvr>
                                        <p:cTn id="8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4726 0.01041 L 0.24583 -0.66111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" y="-3358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2.96296E-6 L 0.14896 2.96296E-6 " pathEditMode="relative" rAng="0" ptsTypes="AA">
                                      <p:cBhvr>
                                        <p:cTn id="16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448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4896 4.44444E-6 L 0.17618 -0.0007 " pathEditMode="relative" rAng="0" ptsTypes="AA">
                                      <p:cBhvr>
                                        <p:cTn id="32" dur="3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54" y="-46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6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30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150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</TotalTime>
  <Words>186</Words>
  <Application>Microsoft Macintosh PowerPoint</Application>
  <PresentationFormat>Widescreen</PresentationFormat>
  <Paragraphs>20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2_Office Theme</vt:lpstr>
      <vt:lpstr>1_Office Theme</vt:lpstr>
      <vt:lpstr>PowerPoint Presentation</vt:lpstr>
      <vt:lpstr>Adapting and Using EMESRT Story Board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24</cp:revision>
  <dcterms:created xsi:type="dcterms:W3CDTF">2020-10-07T22:58:51Z</dcterms:created>
  <dcterms:modified xsi:type="dcterms:W3CDTF">2024-05-09T23:00:15Z</dcterms:modified>
</cp:coreProperties>
</file>